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drawings/drawing4.xml" ContentType="application/vnd.openxmlformats-officedocument.drawingml.chartshapes+xml"/>
  <Override PartName="/ppt/charts/chart5.xml" ContentType="application/vnd.openxmlformats-officedocument.drawingml.chart+xml"/>
  <Override PartName="/ppt/drawings/drawing5.xml" ContentType="application/vnd.openxmlformats-officedocument.drawingml.chartshapes+xml"/>
  <Override PartName="/ppt/charts/chart6.xml" ContentType="application/vnd.openxmlformats-officedocument.drawingml.chart+xml"/>
  <Override PartName="/ppt/drawings/drawing6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7.xml" ContentType="application/vnd.openxmlformats-officedocument.drawingml.chart+xml"/>
  <Override PartName="/ppt/drawings/drawing7.xml" ContentType="application/vnd.openxmlformats-officedocument.drawingml.chartshapes+xml"/>
  <Override PartName="/ppt/charts/chart8.xml" ContentType="application/vnd.openxmlformats-officedocument.drawingml.chart+xml"/>
  <Override PartName="/ppt/drawings/drawing8.xml" ContentType="application/vnd.openxmlformats-officedocument.drawingml.chartshapes+xml"/>
  <Override PartName="/ppt/charts/chart9.xml" ContentType="application/vnd.openxmlformats-officedocument.drawingml.chart+xml"/>
  <Override PartName="/ppt/drawings/drawing9.xml" ContentType="application/vnd.openxmlformats-officedocument.drawingml.chartshapes+xml"/>
  <Override PartName="/ppt/notesSlides/notesSlide4.xml" ContentType="application/vnd.openxmlformats-officedocument.presentationml.notesSlide+xml"/>
  <Override PartName="/ppt/charts/chart10.xml" ContentType="application/vnd.openxmlformats-officedocument.drawingml.chart+xml"/>
  <Override PartName="/ppt/drawings/drawing10.xml" ContentType="application/vnd.openxmlformats-officedocument.drawingml.chartshapes+xml"/>
  <Override PartName="/ppt/charts/chart11.xml" ContentType="application/vnd.openxmlformats-officedocument.drawingml.chart+xml"/>
  <Override PartName="/ppt/drawings/drawing11.xml" ContentType="application/vnd.openxmlformats-officedocument.drawingml.chartshapes+xml"/>
  <Override PartName="/ppt/charts/chart12.xml" ContentType="application/vnd.openxmlformats-officedocument.drawingml.chart+xml"/>
  <Override PartName="/ppt/drawings/drawing12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12"/>
  </p:notesMasterIdLst>
  <p:sldIdLst>
    <p:sldId id="414" r:id="rId8"/>
    <p:sldId id="411" r:id="rId9"/>
    <p:sldId id="415" r:id="rId10"/>
    <p:sldId id="416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1005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02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5A5A5A"/>
    <a:srgbClr val="B7B7B7"/>
    <a:srgbClr val="E5E5E5"/>
    <a:srgbClr val="A8A8A8"/>
    <a:srgbClr val="8D8D8D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1005"/>
        <p:guide pos="3273"/>
        <p:guide pos="5995"/>
        <p:guide pos="1391"/>
        <p:guide pos="402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 sldOrd">
      <pc:chgData name="Weigel Stefan (PAR-EPS)" userId="fd3b2067-2981-4ad8-bf3a-d2e1004e4fa8" providerId="ADAL" clId="{A4CFA2F4-FF8D-446B-B271-6DF568DBEADA}" dt="2026-02-12T15:12:02.218" v="1"/>
      <pc:docMkLst>
        <pc:docMk/>
      </pc:docMkLst>
      <pc:sldChg chg="ord">
        <pc:chgData name="Weigel Stefan (PAR-EPS)" userId="fd3b2067-2981-4ad8-bf3a-d2e1004e4fa8" providerId="ADAL" clId="{A4CFA2F4-FF8D-446B-B271-6DF568DBEADA}" dt="2026-02-12T15:12:02.218" v="1"/>
        <pc:sldMkLst>
          <pc:docMk/>
          <pc:sldMk cId="4208520709" sldId="414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1.xml"/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2.xml"/><Relationship Id="rId1" Type="http://schemas.openxmlformats.org/officeDocument/2006/relationships/package" Target="../embeddings/Microsoft_Excel_Worksheet1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77969249117346695</c:v>
                </c:pt>
                <c:pt idx="2">
                  <c:v>4.83161001949476</c:v>
                </c:pt>
                <c:pt idx="3">
                  <c:v>9.1843510365922096</c:v>
                </c:pt>
                <c:pt idx="4">
                  <c:v>7.716064134626591</c:v>
                </c:pt>
                <c:pt idx="5">
                  <c:v>5.3705344862224802</c:v>
                </c:pt>
                <c:pt idx="6">
                  <c:v>4.3488155315359505</c:v>
                </c:pt>
                <c:pt idx="7">
                  <c:v>4.6200316647626094</c:v>
                </c:pt>
                <c:pt idx="8">
                  <c:v>4.7033610040466103</c:v>
                </c:pt>
                <c:pt idx="9">
                  <c:v>4.3768117038539698</c:v>
                </c:pt>
                <c:pt idx="10">
                  <c:v>4.87339324569189</c:v>
                </c:pt>
                <c:pt idx="11">
                  <c:v>5.7340977051804094</c:v>
                </c:pt>
                <c:pt idx="12">
                  <c:v>8.3508062348334899</c:v>
                </c:pt>
                <c:pt idx="13">
                  <c:v>10.6673686967151</c:v>
                </c:pt>
                <c:pt idx="14">
                  <c:v>8.3642712579509411</c:v>
                </c:pt>
                <c:pt idx="15">
                  <c:v>6.0915482528310898</c:v>
                </c:pt>
                <c:pt idx="16">
                  <c:v>3.7607712312466202</c:v>
                </c:pt>
                <c:pt idx="17">
                  <c:v>2.2939654786698198</c:v>
                </c:pt>
                <c:pt idx="18">
                  <c:v>1.8080605138803398</c:v>
                </c:pt>
                <c:pt idx="19">
                  <c:v>1.15718150154467</c:v>
                </c:pt>
                <c:pt idx="20">
                  <c:v>0.62238415533733893</c:v>
                </c:pt>
                <c:pt idx="21">
                  <c:v>8.5880615197376997E-2</c:v>
                </c:pt>
                <c:pt idx="22">
                  <c:v>4.4736083063283902E-2</c:v>
                </c:pt>
                <c:pt idx="23">
                  <c:v>9.96050746760785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1909048395803601</c:v>
                </c:pt>
                <c:pt idx="2">
                  <c:v>5.5273579461293405</c:v>
                </c:pt>
                <c:pt idx="3">
                  <c:v>9.4914561403834909</c:v>
                </c:pt>
                <c:pt idx="4">
                  <c:v>7.1819200891471109</c:v>
                </c:pt>
                <c:pt idx="5">
                  <c:v>6.1320876646712605</c:v>
                </c:pt>
                <c:pt idx="6">
                  <c:v>5.0896911016890103</c:v>
                </c:pt>
                <c:pt idx="7">
                  <c:v>4.8084410298038902</c:v>
                </c:pt>
                <c:pt idx="8">
                  <c:v>4.5644546285145902</c:v>
                </c:pt>
                <c:pt idx="9">
                  <c:v>5.1185884201421405</c:v>
                </c:pt>
                <c:pt idx="10">
                  <c:v>4.4686221603377403</c:v>
                </c:pt>
                <c:pt idx="11">
                  <c:v>5.5735646635032605</c:v>
                </c:pt>
                <c:pt idx="12">
                  <c:v>7.6736380216635798</c:v>
                </c:pt>
                <c:pt idx="13">
                  <c:v>10.0676205215842</c:v>
                </c:pt>
                <c:pt idx="14">
                  <c:v>8.1077732858330105</c:v>
                </c:pt>
                <c:pt idx="15">
                  <c:v>4.7254958344307898</c:v>
                </c:pt>
                <c:pt idx="16">
                  <c:v>3.4976858872902401</c:v>
                </c:pt>
                <c:pt idx="17">
                  <c:v>2.6776138360798702</c:v>
                </c:pt>
                <c:pt idx="18">
                  <c:v>2.2008059825348099</c:v>
                </c:pt>
                <c:pt idx="19">
                  <c:v>1.4132086465349101</c:v>
                </c:pt>
                <c:pt idx="20">
                  <c:v>0.43071823792442798</c:v>
                </c:pt>
                <c:pt idx="21">
                  <c:v>0</c:v>
                </c:pt>
                <c:pt idx="22">
                  <c:v>3.1933699695343499E-4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28117720505123</c:v>
                </c:pt>
                <c:pt idx="2">
                  <c:v>5.4276369857667195</c:v>
                </c:pt>
                <c:pt idx="3">
                  <c:v>11.248100614553399</c:v>
                </c:pt>
                <c:pt idx="4">
                  <c:v>9.5484778995808099</c:v>
                </c:pt>
                <c:pt idx="5">
                  <c:v>4.5650200450415301</c:v>
                </c:pt>
                <c:pt idx="6">
                  <c:v>3.3106011389464904</c:v>
                </c:pt>
                <c:pt idx="7">
                  <c:v>3.5346157886948899</c:v>
                </c:pt>
                <c:pt idx="8">
                  <c:v>4.0287471007573394</c:v>
                </c:pt>
                <c:pt idx="9">
                  <c:v>4.02773516877361</c:v>
                </c:pt>
                <c:pt idx="10">
                  <c:v>4.0380801064216394</c:v>
                </c:pt>
                <c:pt idx="11">
                  <c:v>5.2408825908065806</c:v>
                </c:pt>
                <c:pt idx="12">
                  <c:v>9.3176504849831598</c:v>
                </c:pt>
                <c:pt idx="13">
                  <c:v>11.712070458835299</c:v>
                </c:pt>
                <c:pt idx="14">
                  <c:v>8.2538750237110889</c:v>
                </c:pt>
                <c:pt idx="15">
                  <c:v>4.5675224280705295</c:v>
                </c:pt>
                <c:pt idx="16">
                  <c:v>2.8204075420765902</c:v>
                </c:pt>
                <c:pt idx="17">
                  <c:v>2.3931976663884202</c:v>
                </c:pt>
                <c:pt idx="18">
                  <c:v>2.3348113314732801</c:v>
                </c:pt>
                <c:pt idx="19">
                  <c:v>1.5925481920356699</c:v>
                </c:pt>
                <c:pt idx="20">
                  <c:v>0.70674156411712707</c:v>
                </c:pt>
                <c:pt idx="21">
                  <c:v>4.8144854470546998E-2</c:v>
                </c:pt>
                <c:pt idx="22">
                  <c:v>4.4625125195687897E-4</c:v>
                </c:pt>
                <c:pt idx="23">
                  <c:v>1.2149418464870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13326422737733701</c:v>
                </c:pt>
                <c:pt idx="1">
                  <c:v>0.62203140165455295</c:v>
                </c:pt>
                <c:pt idx="2">
                  <c:v>1.37844248694649</c:v>
                </c:pt>
                <c:pt idx="3">
                  <c:v>2.4873022419180799</c:v>
                </c:pt>
                <c:pt idx="4">
                  <c:v>4.1892866004376597</c:v>
                </c:pt>
                <c:pt idx="5">
                  <c:v>5.95190883861979</c:v>
                </c:pt>
                <c:pt idx="6">
                  <c:v>6.1613446477230598</c:v>
                </c:pt>
                <c:pt idx="7">
                  <c:v>6.2956881154291908</c:v>
                </c:pt>
                <c:pt idx="8">
                  <c:v>5.9199669001507402</c:v>
                </c:pt>
                <c:pt idx="9">
                  <c:v>6.8154296554834906</c:v>
                </c:pt>
                <c:pt idx="10">
                  <c:v>6.2659677057525993</c:v>
                </c:pt>
                <c:pt idx="11">
                  <c:v>6.8836142846044002</c:v>
                </c:pt>
                <c:pt idx="12">
                  <c:v>8.0328641864865205</c:v>
                </c:pt>
                <c:pt idx="13">
                  <c:v>8.5968050853856006</c:v>
                </c:pt>
                <c:pt idx="14">
                  <c:v>7.3050683616537899</c:v>
                </c:pt>
                <c:pt idx="15">
                  <c:v>6.1798139710403301</c:v>
                </c:pt>
                <c:pt idx="16">
                  <c:v>5.66555827751246</c:v>
                </c:pt>
                <c:pt idx="17">
                  <c:v>4.0428023683032501</c:v>
                </c:pt>
                <c:pt idx="18">
                  <c:v>2.7394637588529598</c:v>
                </c:pt>
                <c:pt idx="19">
                  <c:v>1.4206424650670502</c:v>
                </c:pt>
                <c:pt idx="20">
                  <c:v>1.15969492342341</c:v>
                </c:pt>
                <c:pt idx="21">
                  <c:v>0.69127966782950601</c:v>
                </c:pt>
                <c:pt idx="22">
                  <c:v>0.53461486533880598</c:v>
                </c:pt>
                <c:pt idx="23">
                  <c:v>0.527144963008924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7418074374254899</c:v>
                </c:pt>
                <c:pt idx="2">
                  <c:v>5.5256692350094498</c:v>
                </c:pt>
                <c:pt idx="3">
                  <c:v>11.026579226429501</c:v>
                </c:pt>
                <c:pt idx="4">
                  <c:v>7.7158753254914405</c:v>
                </c:pt>
                <c:pt idx="5">
                  <c:v>4.1171819824887104</c:v>
                </c:pt>
                <c:pt idx="6">
                  <c:v>3.21719955222652</c:v>
                </c:pt>
                <c:pt idx="7">
                  <c:v>3.3778379039353497</c:v>
                </c:pt>
                <c:pt idx="8">
                  <c:v>4.47521142572241</c:v>
                </c:pt>
                <c:pt idx="9">
                  <c:v>4.0927611803698198</c:v>
                </c:pt>
                <c:pt idx="10">
                  <c:v>4.2361251652174197</c:v>
                </c:pt>
                <c:pt idx="11">
                  <c:v>5.3487893260381298</c:v>
                </c:pt>
                <c:pt idx="12">
                  <c:v>8.9195966675239386</c:v>
                </c:pt>
                <c:pt idx="13">
                  <c:v>11.0412344412313</c:v>
                </c:pt>
                <c:pt idx="14">
                  <c:v>8.1037323199544904</c:v>
                </c:pt>
                <c:pt idx="15">
                  <c:v>4.8794510710618004</c:v>
                </c:pt>
                <c:pt idx="16">
                  <c:v>3.13907833663733</c:v>
                </c:pt>
                <c:pt idx="17">
                  <c:v>2.9830877782663601</c:v>
                </c:pt>
                <c:pt idx="18">
                  <c:v>2.83709408487542</c:v>
                </c:pt>
                <c:pt idx="19">
                  <c:v>1.8229374539814502</c:v>
                </c:pt>
                <c:pt idx="20">
                  <c:v>1.09016059283051</c:v>
                </c:pt>
                <c:pt idx="21">
                  <c:v>6.0970497010456003E-2</c:v>
                </c:pt>
                <c:pt idx="22">
                  <c:v>1.41242657803763E-3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38790157068852599</c:v>
                </c:pt>
                <c:pt idx="1">
                  <c:v>0.95581397485643804</c:v>
                </c:pt>
                <c:pt idx="2">
                  <c:v>1.83225189570222</c:v>
                </c:pt>
                <c:pt idx="3">
                  <c:v>2.48584793408715</c:v>
                </c:pt>
                <c:pt idx="4">
                  <c:v>3.5342895908943399</c:v>
                </c:pt>
                <c:pt idx="5">
                  <c:v>4.7347929285857893</c:v>
                </c:pt>
                <c:pt idx="6">
                  <c:v>5.6578101178821703</c:v>
                </c:pt>
                <c:pt idx="7">
                  <c:v>6.3929922766654599</c:v>
                </c:pt>
                <c:pt idx="8">
                  <c:v>5.9526014168195998</c:v>
                </c:pt>
                <c:pt idx="9">
                  <c:v>6.0928758092275297</c:v>
                </c:pt>
                <c:pt idx="10">
                  <c:v>6.5735980424850808</c:v>
                </c:pt>
                <c:pt idx="11">
                  <c:v>7.4655406317402804</c:v>
                </c:pt>
                <c:pt idx="12">
                  <c:v>8.0387765576006895</c:v>
                </c:pt>
                <c:pt idx="13">
                  <c:v>8.5138126987212601</c:v>
                </c:pt>
                <c:pt idx="14">
                  <c:v>7.6282438798306709</c:v>
                </c:pt>
                <c:pt idx="15">
                  <c:v>7.1916042153177901</c:v>
                </c:pt>
                <c:pt idx="16">
                  <c:v>6.1548586574028201</c:v>
                </c:pt>
                <c:pt idx="17">
                  <c:v>4.0911085857654506</c:v>
                </c:pt>
                <c:pt idx="18">
                  <c:v>2.4660302584177001</c:v>
                </c:pt>
                <c:pt idx="19">
                  <c:v>1.6793611115243301</c:v>
                </c:pt>
                <c:pt idx="20">
                  <c:v>0.83803055989050601</c:v>
                </c:pt>
                <c:pt idx="21">
                  <c:v>0.66980920530251509</c:v>
                </c:pt>
                <c:pt idx="22">
                  <c:v>0.447593479476803</c:v>
                </c:pt>
                <c:pt idx="23">
                  <c:v>0.21445460111485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83676863525932699</c:v>
                </c:pt>
                <c:pt idx="2">
                  <c:v>4.8967012992269501</c:v>
                </c:pt>
                <c:pt idx="3">
                  <c:v>9.1559239143717797</c:v>
                </c:pt>
                <c:pt idx="4">
                  <c:v>7.754648944026429</c:v>
                </c:pt>
                <c:pt idx="5">
                  <c:v>5.7563805217014901</c:v>
                </c:pt>
                <c:pt idx="6">
                  <c:v>5.0415750084124795</c:v>
                </c:pt>
                <c:pt idx="7">
                  <c:v>4.4967015544011097</c:v>
                </c:pt>
                <c:pt idx="8">
                  <c:v>4.8404706038502203</c:v>
                </c:pt>
                <c:pt idx="9">
                  <c:v>4.5663190957539106</c:v>
                </c:pt>
                <c:pt idx="10">
                  <c:v>4.8966202003075496</c:v>
                </c:pt>
                <c:pt idx="11">
                  <c:v>5.5976432368785893</c:v>
                </c:pt>
                <c:pt idx="12">
                  <c:v>8.2382157339195299</c:v>
                </c:pt>
                <c:pt idx="13">
                  <c:v>10.145390569768601</c:v>
                </c:pt>
                <c:pt idx="14">
                  <c:v>8.0229151940158694</c:v>
                </c:pt>
                <c:pt idx="15">
                  <c:v>5.2141068791010605</c:v>
                </c:pt>
                <c:pt idx="16">
                  <c:v>3.7732470687871702</c:v>
                </c:pt>
                <c:pt idx="17">
                  <c:v>2.8288553650282902</c:v>
                </c:pt>
                <c:pt idx="18">
                  <c:v>2.10518003696134</c:v>
                </c:pt>
                <c:pt idx="19">
                  <c:v>1.34368814612709</c:v>
                </c:pt>
                <c:pt idx="20">
                  <c:v>0.40080796874888303</c:v>
                </c:pt>
                <c:pt idx="21">
                  <c:v>6.7517032590241596E-2</c:v>
                </c:pt>
                <c:pt idx="22">
                  <c:v>3.90248715894085E-5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3186407626377499</c:v>
                </c:pt>
                <c:pt idx="2">
                  <c:v>5.4513956266702506</c:v>
                </c:pt>
                <c:pt idx="3">
                  <c:v>11.2369755921654</c:v>
                </c:pt>
                <c:pt idx="4">
                  <c:v>8.5020380555449897</c:v>
                </c:pt>
                <c:pt idx="5">
                  <c:v>4.4406163185497602</c:v>
                </c:pt>
                <c:pt idx="6">
                  <c:v>3.2845670787908396</c:v>
                </c:pt>
                <c:pt idx="7">
                  <c:v>3.3908217146022301</c:v>
                </c:pt>
                <c:pt idx="8">
                  <c:v>4.2754397573752199</c:v>
                </c:pt>
                <c:pt idx="9">
                  <c:v>3.8641049193343999</c:v>
                </c:pt>
                <c:pt idx="10">
                  <c:v>3.7941689716812603</c:v>
                </c:pt>
                <c:pt idx="11">
                  <c:v>4.89019521274769</c:v>
                </c:pt>
                <c:pt idx="12">
                  <c:v>8.6025652904304692</c:v>
                </c:pt>
                <c:pt idx="13">
                  <c:v>12.3131203054984</c:v>
                </c:pt>
                <c:pt idx="14">
                  <c:v>8.3264566115974006</c:v>
                </c:pt>
                <c:pt idx="15">
                  <c:v>4.7570399346503498</c:v>
                </c:pt>
                <c:pt idx="16">
                  <c:v>3.4693224540508201</c:v>
                </c:pt>
                <c:pt idx="17">
                  <c:v>2.8947933997786</c:v>
                </c:pt>
                <c:pt idx="18">
                  <c:v>2.83903179867167</c:v>
                </c:pt>
                <c:pt idx="19">
                  <c:v>1.84943718885179</c:v>
                </c:pt>
                <c:pt idx="20">
                  <c:v>0.47171193448490301</c:v>
                </c:pt>
                <c:pt idx="21">
                  <c:v>2.2761435750385203E-3</c:v>
                </c:pt>
                <c:pt idx="22">
                  <c:v>1.3179369001993901E-3</c:v>
                </c:pt>
                <c:pt idx="23">
                  <c:v>1.02903525949583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34925306244346499</c:v>
                </c:pt>
                <c:pt idx="1">
                  <c:v>0.90407946587336796</c:v>
                </c:pt>
                <c:pt idx="2">
                  <c:v>1.61216034208547</c:v>
                </c:pt>
                <c:pt idx="3">
                  <c:v>2.4690206071228</c:v>
                </c:pt>
                <c:pt idx="4">
                  <c:v>3.7589257550712101</c:v>
                </c:pt>
                <c:pt idx="5">
                  <c:v>5.1989649622001197</c:v>
                </c:pt>
                <c:pt idx="6">
                  <c:v>5.6309648419913598</c:v>
                </c:pt>
                <c:pt idx="7">
                  <c:v>5.6509623952454699</c:v>
                </c:pt>
                <c:pt idx="8">
                  <c:v>6.1066778623969897</c:v>
                </c:pt>
                <c:pt idx="9">
                  <c:v>6.47318161903923</c:v>
                </c:pt>
                <c:pt idx="10">
                  <c:v>6.6801201979773603</c:v>
                </c:pt>
                <c:pt idx="11">
                  <c:v>7.0959973386705091</c:v>
                </c:pt>
                <c:pt idx="12">
                  <c:v>8.1012728499134798</c:v>
                </c:pt>
                <c:pt idx="13">
                  <c:v>8.3844394522572401</c:v>
                </c:pt>
                <c:pt idx="14">
                  <c:v>7.7556151951401597</c:v>
                </c:pt>
                <c:pt idx="15">
                  <c:v>6.4453166978998198</c:v>
                </c:pt>
                <c:pt idx="16">
                  <c:v>5.5621206388403897</c:v>
                </c:pt>
                <c:pt idx="17">
                  <c:v>4.2605741067588996</c:v>
                </c:pt>
                <c:pt idx="18">
                  <c:v>3.0424973140719498</c:v>
                </c:pt>
                <c:pt idx="19">
                  <c:v>1.76346555307621</c:v>
                </c:pt>
                <c:pt idx="20">
                  <c:v>0.63660839881971198</c:v>
                </c:pt>
                <c:pt idx="21">
                  <c:v>0.93276458642459903</c:v>
                </c:pt>
                <c:pt idx="22">
                  <c:v>0.68225617099282698</c:v>
                </c:pt>
                <c:pt idx="23">
                  <c:v>0.502760585687356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6-F23F-4C9D-8FA0-41BC078C8A0E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26034833932717599</c:v>
                </c:pt>
                <c:pt idx="2">
                  <c:v>3.5021134836505605</c:v>
                </c:pt>
                <c:pt idx="3">
                  <c:v>4.5391278257037104</c:v>
                </c:pt>
                <c:pt idx="4">
                  <c:v>6.8912638006847704</c:v>
                </c:pt>
                <c:pt idx="5">
                  <c:v>5.8085249668672398</c:v>
                </c:pt>
                <c:pt idx="6">
                  <c:v>9.0748950068921204</c:v>
                </c:pt>
                <c:pt idx="7">
                  <c:v>5.4447790100538098</c:v>
                </c:pt>
                <c:pt idx="8">
                  <c:v>8.4043704732189592</c:v>
                </c:pt>
                <c:pt idx="9">
                  <c:v>5.0465538666327197</c:v>
                </c:pt>
                <c:pt idx="10">
                  <c:v>8.3106451093944109</c:v>
                </c:pt>
                <c:pt idx="11">
                  <c:v>5.63199196405803</c:v>
                </c:pt>
                <c:pt idx="12">
                  <c:v>9.6095898628263807</c:v>
                </c:pt>
                <c:pt idx="13">
                  <c:v>7.0731621911009706</c:v>
                </c:pt>
                <c:pt idx="14">
                  <c:v>7.6833358087318002</c:v>
                </c:pt>
                <c:pt idx="15">
                  <c:v>4.3444384920900898</c:v>
                </c:pt>
                <c:pt idx="16">
                  <c:v>5.0427314871712801</c:v>
                </c:pt>
                <c:pt idx="17">
                  <c:v>1.5909056608236698</c:v>
                </c:pt>
                <c:pt idx="18">
                  <c:v>1.4224740565621099</c:v>
                </c:pt>
                <c:pt idx="19">
                  <c:v>0.19823482599179601</c:v>
                </c:pt>
                <c:pt idx="20">
                  <c:v>0.12051376821842801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48695972024088</c:v>
                </c:pt>
                <c:pt idx="2">
                  <c:v>5.5331649247012598</c:v>
                </c:pt>
                <c:pt idx="3">
                  <c:v>12.2828939821897</c:v>
                </c:pt>
                <c:pt idx="4">
                  <c:v>6.7992459223848698</c:v>
                </c:pt>
                <c:pt idx="5">
                  <c:v>4.4826942377147194</c:v>
                </c:pt>
                <c:pt idx="6">
                  <c:v>4.0817272943704106</c:v>
                </c:pt>
                <c:pt idx="7">
                  <c:v>4.2751331362081002</c:v>
                </c:pt>
                <c:pt idx="8">
                  <c:v>4.6092641438045998</c:v>
                </c:pt>
                <c:pt idx="9">
                  <c:v>4.2935016272206399</c:v>
                </c:pt>
                <c:pt idx="10">
                  <c:v>4.4249654016161006</c:v>
                </c:pt>
                <c:pt idx="11">
                  <c:v>5.9792028373753396</c:v>
                </c:pt>
                <c:pt idx="12">
                  <c:v>9.3833630926698799</c:v>
                </c:pt>
                <c:pt idx="13">
                  <c:v>11.2791714713373</c:v>
                </c:pt>
                <c:pt idx="14">
                  <c:v>6.4205708804962596</c:v>
                </c:pt>
                <c:pt idx="15">
                  <c:v>3.9115062531374702</c:v>
                </c:pt>
                <c:pt idx="16">
                  <c:v>3.0405826344848901</c:v>
                </c:pt>
                <c:pt idx="17">
                  <c:v>2.4977586454091201</c:v>
                </c:pt>
                <c:pt idx="18">
                  <c:v>2.0321862352912001</c:v>
                </c:pt>
                <c:pt idx="19">
                  <c:v>1.49258750033242</c:v>
                </c:pt>
                <c:pt idx="20">
                  <c:v>1.0195010145908401</c:v>
                </c:pt>
                <c:pt idx="21">
                  <c:v>9.5098514927165298E-2</c:v>
                </c:pt>
                <c:pt idx="22">
                  <c:v>5.0460016349005897E-2</c:v>
                </c:pt>
                <c:pt idx="23">
                  <c:v>1.52254074193494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0-B91B-4839-95BB-925337759BCA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239732899714929</c:v>
                </c:pt>
                <c:pt idx="1">
                  <c:v>0.525698662600386</c:v>
                </c:pt>
                <c:pt idx="2">
                  <c:v>0.89923298441795496</c:v>
                </c:pt>
                <c:pt idx="3">
                  <c:v>1.5933865735531101</c:v>
                </c:pt>
                <c:pt idx="4">
                  <c:v>4.3138518028220298</c:v>
                </c:pt>
                <c:pt idx="5">
                  <c:v>4.5687754161017597</c:v>
                </c:pt>
                <c:pt idx="6">
                  <c:v>8.1113622960092098</c:v>
                </c:pt>
                <c:pt idx="7">
                  <c:v>5.7917783879220304</c:v>
                </c:pt>
                <c:pt idx="8">
                  <c:v>8.1127755346955794</c:v>
                </c:pt>
                <c:pt idx="9">
                  <c:v>5.27736224576197</c:v>
                </c:pt>
                <c:pt idx="10">
                  <c:v>9.2989946131712298</c:v>
                </c:pt>
                <c:pt idx="11">
                  <c:v>5.8717343260030006</c:v>
                </c:pt>
                <c:pt idx="12">
                  <c:v>11.4141308780743</c:v>
                </c:pt>
                <c:pt idx="13">
                  <c:v>7.5505781718583602</c:v>
                </c:pt>
                <c:pt idx="14">
                  <c:v>8.3902111966717303</c:v>
                </c:pt>
                <c:pt idx="15">
                  <c:v>6.9624133083782196</c:v>
                </c:pt>
                <c:pt idx="16">
                  <c:v>5.5915880317769702</c:v>
                </c:pt>
                <c:pt idx="17">
                  <c:v>3.0442084006023999</c:v>
                </c:pt>
                <c:pt idx="18">
                  <c:v>1.27513534946382</c:v>
                </c:pt>
                <c:pt idx="19">
                  <c:v>0.52808270891635201</c:v>
                </c:pt>
                <c:pt idx="20">
                  <c:v>0.152875754306221</c:v>
                </c:pt>
                <c:pt idx="21">
                  <c:v>5.6606437371474298E-2</c:v>
                </c:pt>
                <c:pt idx="22">
                  <c:v>5.9263654735177999E-3</c:v>
                </c:pt>
                <c:pt idx="23">
                  <c:v>0.42355765433342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3818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662882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 grandes lignes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u lundi au vendredi</a:t>
          </a: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9755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855242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Long-distance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Monday to Friday</a:t>
          </a:r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5573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41602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Regional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Monday to Friday</a:t>
          </a:r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9890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85231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Regional and long-distance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Sunday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63059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653264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 régional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u lundi au vendredi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91089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599036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s régional et grandes lignes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imanche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2135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60838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Fernverkehr 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Montag bis Freitag  </a:t>
          </a:r>
          <a:endParaRPr lang="de-CH" sz="140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61673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60838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Regionalverkehr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Montag bis Freitag  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77533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159813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Regional- und Fernverkehr 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Sonntag 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81084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2222331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Traffico a lunga percorrenza</a:t>
          </a:r>
        </a:p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lunedì-venerdì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5484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387166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Traffico regionale</a:t>
          </a:r>
        </a:p>
        <a:p xmlns:a="http://schemas.openxmlformats.org/drawingml/2006/main">
          <a:r>
            <a:rPr lang="de-CH" sz="1400" dirty="0" err="1">
              <a:solidFill>
                <a:srgbClr val="444444"/>
              </a:solidFill>
            </a:rPr>
            <a:t>lunedì-venerdì</a:t>
          </a:r>
          <a:r>
            <a:rPr lang="de-CH" sz="1400" dirty="0">
              <a:solidFill>
                <a:srgbClr val="444444"/>
              </a:solidFill>
            </a:rPr>
            <a:t> 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03951</cdr:x>
      <cdr:y>0</cdr:y>
    </cdr:from>
    <cdr:to>
      <cdr:x>1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3111997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Traffico regionale e a lunga percorrenza</a:t>
          </a:r>
        </a:p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domenica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72607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5763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00743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19553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assagers au cours de la journée en 2025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399282852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1699" y="6104605"/>
            <a:ext cx="79034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art de voyageurs par rapport au volume total du trafic voyageurs dans les trains au départ de et à l’arrivée à Lausanne par heure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640552734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2168991054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9921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E966966-2743-4720-D8DC-624FE395B867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Lausanne.</a:t>
            </a:r>
          </a:p>
        </p:txBody>
      </p:sp>
    </p:spTree>
    <p:extLst>
      <p:ext uri="{BB962C8B-B14F-4D97-AF65-F5344CB8AC3E}">
        <p14:creationId xmlns:p14="http://schemas.microsoft.com/office/powerpoint/2010/main" val="42085207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Zugpassagiere im Tagesablauf im 2025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267865292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8367" y="6104605"/>
            <a:ext cx="74521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rozentanteile des Personenverkehrsaufkommens pro Stunde in den ankommenden und abfahrenden Zügen in Zürich HB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497155510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3860066073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039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5308751-8444-BDC0-0569-ED7BE91F177D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Zürich HB.</a:t>
            </a:r>
          </a:p>
        </p:txBody>
      </p:sp>
    </p:spTree>
    <p:extLst>
      <p:ext uri="{BB962C8B-B14F-4D97-AF65-F5344CB8AC3E}">
        <p14:creationId xmlns:p14="http://schemas.microsoft.com/office/powerpoint/2010/main" val="346380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asseggeri nell’arco della giornata nel 2025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718106083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8358" y="6104605"/>
            <a:ext cx="6921695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ercentuale del volume del traffico viaggiatori all’ora nei treni in partenza e in arrivo a Bellinzona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72846801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2380933713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5F8491F-A881-B7C3-B209-6CF1D0B171FD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Bellinzona.</a:t>
            </a:r>
          </a:p>
        </p:txBody>
      </p:sp>
    </p:spTree>
    <p:extLst>
      <p:ext uri="{BB962C8B-B14F-4D97-AF65-F5344CB8AC3E}">
        <p14:creationId xmlns:p14="http://schemas.microsoft.com/office/powerpoint/2010/main" val="16499110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urly distribution of train passengers in 2025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349480878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65038" y="6104605"/>
            <a:ext cx="74521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lvl="0">
              <a:defRPr/>
            </a:pPr>
            <a:r>
              <a:rPr lang="en-US" sz="1100" dirty="0">
                <a:solidFill>
                  <a:srgbClr val="444444"/>
                </a:solidFill>
                <a:cs typeface="Arial" pitchFamily="34" charset="0"/>
              </a:rPr>
              <a:t>Passenger traffic as a percentage of trains arriving at or departing from Zug per hour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888190437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1617528958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039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A5D9DB9-DC37-9823-9C49-37175A640C19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Zug.</a:t>
            </a:r>
          </a:p>
        </p:txBody>
      </p:sp>
    </p:spTree>
    <p:extLst>
      <p:ext uri="{BB962C8B-B14F-4D97-AF65-F5344CB8AC3E}">
        <p14:creationId xmlns:p14="http://schemas.microsoft.com/office/powerpoint/2010/main" val="27145009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F106BD4-402A-47EC-91C4-BBFDEA67011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purl.org/dc/dcmitype/"/>
    <ds:schemaRef ds:uri="http://purl.org/dc/elements/1.1/"/>
    <ds:schemaRef ds:uri="2f5c8543-cf23-4718-a3b8-32b0a91d511a"/>
    <ds:schemaRef ds:uri="96e82a89-ba48-4728-b345-cf206dbec8f1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49</Words>
  <Application>Microsoft Office PowerPoint</Application>
  <PresentationFormat>Breitbild</PresentationFormat>
  <Paragraphs>48</Paragraphs>
  <Slides>4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4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Passagers au cours de la journée en 2025.</vt:lpstr>
      <vt:lpstr>Zugpassagiere im Tagesablauf im 2025.</vt:lpstr>
      <vt:lpstr>Passeggeri nell’arco della giornata nel 2025.</vt:lpstr>
      <vt:lpstr>Hourly distribution of train passengers in 2025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ugpassagiere im Tagesablauf im 2024.</dc:title>
  <dc:creator>Meyer Raphael (KOM-PGA-VSF)</dc:creator>
  <cp:lastModifiedBy>Weigel Stefan (PAR-EPS)</cp:lastModifiedBy>
  <cp:revision>63</cp:revision>
  <dcterms:created xsi:type="dcterms:W3CDTF">2020-09-30T11:00:09Z</dcterms:created>
  <dcterms:modified xsi:type="dcterms:W3CDTF">2026-03-03T13:48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